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3F1E8-9DB2-1574-6D61-87E387888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644B12-0529-AA60-3A3F-68444ED39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16C49F-BF9A-7330-AE35-A656E4249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31F63E1E-83C1-011C-5147-D7307FCD0BDB}"/>
              </a:ext>
            </a:extLst>
          </p:cNvPr>
          <p:cNvSpPr/>
          <p:nvPr/>
        </p:nvSpPr>
        <p:spPr>
          <a:xfrm flipH="1">
            <a:off x="1856037" y="2381982"/>
            <a:ext cx="3933404" cy="2877929"/>
          </a:xfrm>
          <a:prstGeom prst="homePlate">
            <a:avLst>
              <a:gd name="adj" fmla="val 382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47"/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E514BF1E-721D-CE20-70A7-78864C860BB5}"/>
              </a:ext>
            </a:extLst>
          </p:cNvPr>
          <p:cNvSpPr/>
          <p:nvPr/>
        </p:nvSpPr>
        <p:spPr>
          <a:xfrm>
            <a:off x="5789438" y="2381982"/>
            <a:ext cx="3958365" cy="2877929"/>
          </a:xfrm>
          <a:prstGeom prst="homePlate">
            <a:avLst>
              <a:gd name="adj" fmla="val 352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47"/>
          </a:p>
        </p:txBody>
      </p:sp>
      <p:sp>
        <p:nvSpPr>
          <p:cNvPr id="7" name="Shape0_20220407_174751">
            <a:extLst>
              <a:ext uri="{FF2B5EF4-FFF2-40B4-BE49-F238E27FC236}">
                <a16:creationId xmlns:a16="http://schemas.microsoft.com/office/drawing/2014/main" id="{991E4F3F-2218-9328-CA62-C678E2D7BD2A}"/>
              </a:ext>
            </a:extLst>
          </p:cNvPr>
          <p:cNvSpPr txBox="1"/>
          <p:nvPr/>
        </p:nvSpPr>
        <p:spPr>
          <a:xfrm>
            <a:off x="3670695" y="3815060"/>
            <a:ext cx="1163254" cy="9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47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8" name="Shape0_20220407_174751">
            <a:extLst>
              <a:ext uri="{FF2B5EF4-FFF2-40B4-BE49-F238E27FC236}">
                <a16:creationId xmlns:a16="http://schemas.microsoft.com/office/drawing/2014/main" id="{16D0154A-EDA2-4721-990B-01F4EB1DE494}"/>
              </a:ext>
            </a:extLst>
          </p:cNvPr>
          <p:cNvSpPr txBox="1"/>
          <p:nvPr/>
        </p:nvSpPr>
        <p:spPr>
          <a:xfrm>
            <a:off x="3337029" y="4257027"/>
            <a:ext cx="1830583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12" dirty="0">
                <a:solidFill>
                  <a:schemeClr val="bg1"/>
                </a:solidFill>
              </a:rPr>
              <a:t>Insert Text Here</a:t>
            </a:r>
          </a:p>
        </p:txBody>
      </p:sp>
      <p:sp>
        <p:nvSpPr>
          <p:cNvPr id="9" name="Shape0_20220407_174751">
            <a:extLst>
              <a:ext uri="{FF2B5EF4-FFF2-40B4-BE49-F238E27FC236}">
                <a16:creationId xmlns:a16="http://schemas.microsoft.com/office/drawing/2014/main" id="{FF3DDCBC-EA78-4E90-E0ED-6A559139C621}"/>
              </a:ext>
            </a:extLst>
          </p:cNvPr>
          <p:cNvSpPr txBox="1"/>
          <p:nvPr/>
        </p:nvSpPr>
        <p:spPr>
          <a:xfrm>
            <a:off x="6744933" y="3815060"/>
            <a:ext cx="1163254" cy="9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47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0" name="Shape0_20220407_174751">
            <a:extLst>
              <a:ext uri="{FF2B5EF4-FFF2-40B4-BE49-F238E27FC236}">
                <a16:creationId xmlns:a16="http://schemas.microsoft.com/office/drawing/2014/main" id="{D9AA1F3D-7E2F-200F-A83A-85F440749ABD}"/>
              </a:ext>
            </a:extLst>
          </p:cNvPr>
          <p:cNvSpPr txBox="1"/>
          <p:nvPr/>
        </p:nvSpPr>
        <p:spPr>
          <a:xfrm>
            <a:off x="6411268" y="4257027"/>
            <a:ext cx="1830583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12" dirty="0">
                <a:solidFill>
                  <a:schemeClr val="bg1"/>
                </a:solidFill>
              </a:rPr>
              <a:t>Insert Text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9A8650-4DDA-DB2B-4A94-BE7D667D5F14}"/>
              </a:ext>
            </a:extLst>
          </p:cNvPr>
          <p:cNvSpPr/>
          <p:nvPr/>
        </p:nvSpPr>
        <p:spPr>
          <a:xfrm>
            <a:off x="5769662" y="1580830"/>
            <a:ext cx="107858" cy="4480235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47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9AE6F6-07CC-1257-6646-2F6248DB0383}"/>
              </a:ext>
            </a:extLst>
          </p:cNvPr>
          <p:cNvGrpSpPr/>
          <p:nvPr/>
        </p:nvGrpSpPr>
        <p:grpSpPr>
          <a:xfrm>
            <a:off x="6984483" y="2863307"/>
            <a:ext cx="602931" cy="647325"/>
            <a:chOff x="7282544" y="2726417"/>
            <a:chExt cx="599410" cy="643545"/>
          </a:xfrm>
        </p:grpSpPr>
        <p:sp>
          <p:nvSpPr>
            <p:cNvPr id="20" name="Freeform 311">
              <a:extLst>
                <a:ext uri="{FF2B5EF4-FFF2-40B4-BE49-F238E27FC236}">
                  <a16:creationId xmlns:a16="http://schemas.microsoft.com/office/drawing/2014/main" id="{A6A9CF61-099F-4D35-8867-B182A1F83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126" y="2726417"/>
              <a:ext cx="424286" cy="425708"/>
            </a:xfrm>
            <a:custGeom>
              <a:avLst/>
              <a:gdLst>
                <a:gd name="T0" fmla="*/ 240 w 298"/>
                <a:gd name="T1" fmla="*/ 134 h 299"/>
                <a:gd name="T2" fmla="*/ 298 w 298"/>
                <a:gd name="T3" fmla="*/ 76 h 299"/>
                <a:gd name="T4" fmla="*/ 222 w 298"/>
                <a:gd name="T5" fmla="*/ 0 h 299"/>
                <a:gd name="T6" fmla="*/ 0 w 298"/>
                <a:gd name="T7" fmla="*/ 223 h 299"/>
                <a:gd name="T8" fmla="*/ 76 w 298"/>
                <a:gd name="T9" fmla="*/ 299 h 299"/>
                <a:gd name="T10" fmla="*/ 159 w 298"/>
                <a:gd name="T11" fmla="*/ 21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" h="299">
                  <a:moveTo>
                    <a:pt x="240" y="134"/>
                  </a:moveTo>
                  <a:lnTo>
                    <a:pt x="298" y="76"/>
                  </a:lnTo>
                  <a:lnTo>
                    <a:pt x="222" y="0"/>
                  </a:lnTo>
                  <a:lnTo>
                    <a:pt x="0" y="223"/>
                  </a:lnTo>
                  <a:lnTo>
                    <a:pt x="76" y="299"/>
                  </a:lnTo>
                  <a:lnTo>
                    <a:pt x="159" y="216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21" name="Line 312">
              <a:extLst>
                <a:ext uri="{FF2B5EF4-FFF2-40B4-BE49-F238E27FC236}">
                  <a16:creationId xmlns:a16="http://schemas.microsoft.com/office/drawing/2014/main" id="{4C12EAFE-7CDC-E046-F4BB-A8634C5C7F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414955" y="3088055"/>
              <a:ext cx="96817" cy="98241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22" name="Oval 313">
              <a:extLst>
                <a:ext uri="{FF2B5EF4-FFF2-40B4-BE49-F238E27FC236}">
                  <a16:creationId xmlns:a16="http://schemas.microsoft.com/office/drawing/2014/main" id="{845F92F3-0CAC-5B9E-CB07-6608A1EC2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4149" y="2898694"/>
              <a:ext cx="150921" cy="15092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23" name="Freeform 314">
              <a:extLst>
                <a:ext uri="{FF2B5EF4-FFF2-40B4-BE49-F238E27FC236}">
                  <a16:creationId xmlns:a16="http://schemas.microsoft.com/office/drawing/2014/main" id="{E27B4E3A-DAC8-5AAF-96D3-5ACCD6B27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2544" y="3033952"/>
              <a:ext cx="599410" cy="336010"/>
            </a:xfrm>
            <a:custGeom>
              <a:avLst/>
              <a:gdLst>
                <a:gd name="T0" fmla="*/ 1077 w 1240"/>
                <a:gd name="T1" fmla="*/ 0 h 693"/>
                <a:gd name="T2" fmla="*/ 1099 w 1240"/>
                <a:gd name="T3" fmla="*/ 528 h 693"/>
                <a:gd name="T4" fmla="*/ 1118 w 1240"/>
                <a:gd name="T5" fmla="*/ 528 h 693"/>
                <a:gd name="T6" fmla="*/ 1240 w 1240"/>
                <a:gd name="T7" fmla="*/ 642 h 693"/>
                <a:gd name="T8" fmla="*/ 1240 w 1240"/>
                <a:gd name="T9" fmla="*/ 693 h 693"/>
                <a:gd name="T10" fmla="*/ 0 w 1240"/>
                <a:gd name="T11" fmla="*/ 693 h 693"/>
                <a:gd name="T12" fmla="*/ 0 w 1240"/>
                <a:gd name="T13" fmla="*/ 642 h 693"/>
                <a:gd name="T14" fmla="*/ 122 w 1240"/>
                <a:gd name="T15" fmla="*/ 528 h 693"/>
                <a:gd name="T16" fmla="*/ 834 w 1240"/>
                <a:gd name="T17" fmla="*/ 528 h 693"/>
                <a:gd name="T18" fmla="*/ 910 w 1240"/>
                <a:gd name="T19" fmla="*/ 43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0" h="693">
                  <a:moveTo>
                    <a:pt x="1077" y="0"/>
                  </a:moveTo>
                  <a:cubicBezTo>
                    <a:pt x="1237" y="201"/>
                    <a:pt x="1196" y="330"/>
                    <a:pt x="1099" y="528"/>
                  </a:cubicBezTo>
                  <a:cubicBezTo>
                    <a:pt x="1118" y="528"/>
                    <a:pt x="1118" y="528"/>
                    <a:pt x="1118" y="528"/>
                  </a:cubicBezTo>
                  <a:cubicBezTo>
                    <a:pt x="1186" y="528"/>
                    <a:pt x="1240" y="580"/>
                    <a:pt x="1240" y="642"/>
                  </a:cubicBezTo>
                  <a:cubicBezTo>
                    <a:pt x="1240" y="693"/>
                    <a:pt x="1240" y="693"/>
                    <a:pt x="1240" y="693"/>
                  </a:cubicBezTo>
                  <a:cubicBezTo>
                    <a:pt x="0" y="693"/>
                    <a:pt x="0" y="693"/>
                    <a:pt x="0" y="693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580"/>
                    <a:pt x="55" y="528"/>
                    <a:pt x="122" y="528"/>
                  </a:cubicBezTo>
                  <a:cubicBezTo>
                    <a:pt x="834" y="528"/>
                    <a:pt x="834" y="528"/>
                    <a:pt x="834" y="528"/>
                  </a:cubicBezTo>
                  <a:cubicBezTo>
                    <a:pt x="950" y="359"/>
                    <a:pt x="998" y="236"/>
                    <a:pt x="910" y="4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7CF8A1-4511-1D10-0C59-1A32CA87C7D4}"/>
              </a:ext>
            </a:extLst>
          </p:cNvPr>
          <p:cNvGrpSpPr/>
          <p:nvPr/>
        </p:nvGrpSpPr>
        <p:grpSpPr>
          <a:xfrm>
            <a:off x="3927244" y="2863307"/>
            <a:ext cx="641876" cy="647325"/>
            <a:chOff x="4243156" y="2726417"/>
            <a:chExt cx="638127" cy="643545"/>
          </a:xfrm>
        </p:grpSpPr>
        <p:sp>
          <p:nvSpPr>
            <p:cNvPr id="14" name="Line 5">
              <a:extLst>
                <a:ext uri="{FF2B5EF4-FFF2-40B4-BE49-F238E27FC236}">
                  <a16:creationId xmlns:a16="http://schemas.microsoft.com/office/drawing/2014/main" id="{9138D9E4-7503-0E7A-1657-03CB08CBE4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2413" y="2782916"/>
              <a:ext cx="0" cy="97131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15" name="Line 6">
              <a:extLst>
                <a:ext uri="{FF2B5EF4-FFF2-40B4-BE49-F238E27FC236}">
                  <a16:creationId xmlns:a16="http://schemas.microsoft.com/office/drawing/2014/main" id="{758C5CF6-D2E9-F5AC-CD8D-C79DE0D5C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3847" y="2831288"/>
              <a:ext cx="9693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1CC8F58A-D2FA-28F7-F330-FF1E8E365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41" y="2726417"/>
              <a:ext cx="292749" cy="130025"/>
            </a:xfrm>
            <a:custGeom>
              <a:avLst/>
              <a:gdLst>
                <a:gd name="T0" fmla="*/ 25 w 637"/>
                <a:gd name="T1" fmla="*/ 283 h 283"/>
                <a:gd name="T2" fmla="*/ 4 w 637"/>
                <a:gd name="T3" fmla="*/ 106 h 283"/>
                <a:gd name="T4" fmla="*/ 319 w 637"/>
                <a:gd name="T5" fmla="*/ 0 h 283"/>
                <a:gd name="T6" fmla="*/ 633 w 637"/>
                <a:gd name="T7" fmla="*/ 106 h 283"/>
                <a:gd name="T8" fmla="*/ 612 w 637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7" h="283">
                  <a:moveTo>
                    <a:pt x="25" y="283"/>
                  </a:moveTo>
                  <a:cubicBezTo>
                    <a:pt x="4" y="106"/>
                    <a:pt x="4" y="106"/>
                    <a:pt x="4" y="106"/>
                  </a:cubicBezTo>
                  <a:cubicBezTo>
                    <a:pt x="0" y="72"/>
                    <a:pt x="160" y="0"/>
                    <a:pt x="319" y="0"/>
                  </a:cubicBezTo>
                  <a:cubicBezTo>
                    <a:pt x="477" y="0"/>
                    <a:pt x="637" y="73"/>
                    <a:pt x="633" y="106"/>
                  </a:cubicBezTo>
                  <a:cubicBezTo>
                    <a:pt x="612" y="283"/>
                    <a:pt x="612" y="283"/>
                    <a:pt x="612" y="28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B509804-91F2-0481-B39F-EED7C71BE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156" y="3193500"/>
              <a:ext cx="638127" cy="176462"/>
            </a:xfrm>
            <a:custGeom>
              <a:avLst/>
              <a:gdLst>
                <a:gd name="T0" fmla="*/ 23 w 1389"/>
                <a:gd name="T1" fmla="*/ 384 h 384"/>
                <a:gd name="T2" fmla="*/ 0 w 1389"/>
                <a:gd name="T3" fmla="*/ 223 h 384"/>
                <a:gd name="T4" fmla="*/ 0 w 1389"/>
                <a:gd name="T5" fmla="*/ 196 h 384"/>
                <a:gd name="T6" fmla="*/ 132 w 1389"/>
                <a:gd name="T7" fmla="*/ 88 h 384"/>
                <a:gd name="T8" fmla="*/ 460 w 1389"/>
                <a:gd name="T9" fmla="*/ 1 h 384"/>
                <a:gd name="T10" fmla="*/ 464 w 1389"/>
                <a:gd name="T11" fmla="*/ 0 h 384"/>
                <a:gd name="T12" fmla="*/ 925 w 1389"/>
                <a:gd name="T13" fmla="*/ 0 h 384"/>
                <a:gd name="T14" fmla="*/ 929 w 1389"/>
                <a:gd name="T15" fmla="*/ 1 h 384"/>
                <a:gd name="T16" fmla="*/ 1257 w 1389"/>
                <a:gd name="T17" fmla="*/ 88 h 384"/>
                <a:gd name="T18" fmla="*/ 1389 w 1389"/>
                <a:gd name="T19" fmla="*/ 196 h 384"/>
                <a:gd name="T20" fmla="*/ 1389 w 1389"/>
                <a:gd name="T21" fmla="*/ 223 h 384"/>
                <a:gd name="T22" fmla="*/ 1366 w 1389"/>
                <a:gd name="T23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9" h="384">
                  <a:moveTo>
                    <a:pt x="23" y="384"/>
                  </a:moveTo>
                  <a:cubicBezTo>
                    <a:pt x="0" y="223"/>
                    <a:pt x="0" y="223"/>
                    <a:pt x="0" y="22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134"/>
                    <a:pt x="72" y="99"/>
                    <a:pt x="132" y="88"/>
                  </a:cubicBezTo>
                  <a:cubicBezTo>
                    <a:pt x="187" y="79"/>
                    <a:pt x="393" y="41"/>
                    <a:pt x="460" y="1"/>
                  </a:cubicBezTo>
                  <a:cubicBezTo>
                    <a:pt x="464" y="0"/>
                    <a:pt x="464" y="0"/>
                    <a:pt x="464" y="0"/>
                  </a:cubicBezTo>
                  <a:cubicBezTo>
                    <a:pt x="556" y="370"/>
                    <a:pt x="832" y="369"/>
                    <a:pt x="925" y="0"/>
                  </a:cubicBezTo>
                  <a:cubicBezTo>
                    <a:pt x="929" y="1"/>
                    <a:pt x="929" y="1"/>
                    <a:pt x="929" y="1"/>
                  </a:cubicBezTo>
                  <a:cubicBezTo>
                    <a:pt x="996" y="41"/>
                    <a:pt x="1202" y="79"/>
                    <a:pt x="1257" y="88"/>
                  </a:cubicBezTo>
                  <a:cubicBezTo>
                    <a:pt x="1317" y="99"/>
                    <a:pt x="1389" y="134"/>
                    <a:pt x="1389" y="196"/>
                  </a:cubicBezTo>
                  <a:cubicBezTo>
                    <a:pt x="1389" y="223"/>
                    <a:pt x="1389" y="223"/>
                    <a:pt x="1389" y="223"/>
                  </a:cubicBezTo>
                  <a:cubicBezTo>
                    <a:pt x="1366" y="384"/>
                    <a:pt x="1366" y="384"/>
                    <a:pt x="1366" y="38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18" name="Line 9">
              <a:extLst>
                <a:ext uri="{FF2B5EF4-FFF2-40B4-BE49-F238E27FC236}">
                  <a16:creationId xmlns:a16="http://schemas.microsoft.com/office/drawing/2014/main" id="{99912F8D-E42E-168C-7450-F864361977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71348" y="3369962"/>
              <a:ext cx="92874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E9240077-D497-FDC2-DAD5-23AD789F0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235" y="2897849"/>
              <a:ext cx="310163" cy="314420"/>
            </a:xfrm>
            <a:custGeom>
              <a:avLst/>
              <a:gdLst>
                <a:gd name="T0" fmla="*/ 589 w 675"/>
                <a:gd name="T1" fmla="*/ 385 h 684"/>
                <a:gd name="T2" fmla="*/ 86 w 675"/>
                <a:gd name="T3" fmla="*/ 385 h 684"/>
                <a:gd name="T4" fmla="*/ 80 w 675"/>
                <a:gd name="T5" fmla="*/ 386 h 684"/>
                <a:gd name="T6" fmla="*/ 74 w 675"/>
                <a:gd name="T7" fmla="*/ 386 h 684"/>
                <a:gd name="T8" fmla="*/ 26 w 675"/>
                <a:gd name="T9" fmla="*/ 354 h 684"/>
                <a:gd name="T10" fmla="*/ 1 w 675"/>
                <a:gd name="T11" fmla="*/ 268 h 684"/>
                <a:gd name="T12" fmla="*/ 46 w 675"/>
                <a:gd name="T13" fmla="*/ 197 h 684"/>
                <a:gd name="T14" fmla="*/ 62 w 675"/>
                <a:gd name="T15" fmla="*/ 138 h 684"/>
                <a:gd name="T16" fmla="*/ 91 w 675"/>
                <a:gd name="T17" fmla="*/ 32 h 684"/>
                <a:gd name="T18" fmla="*/ 201 w 675"/>
                <a:gd name="T19" fmla="*/ 56 h 684"/>
                <a:gd name="T20" fmla="*/ 338 w 675"/>
                <a:gd name="T21" fmla="*/ 115 h 684"/>
                <a:gd name="T22" fmla="*/ 474 w 675"/>
                <a:gd name="T23" fmla="*/ 56 h 684"/>
                <a:gd name="T24" fmla="*/ 584 w 675"/>
                <a:gd name="T25" fmla="*/ 32 h 684"/>
                <a:gd name="T26" fmla="*/ 613 w 675"/>
                <a:gd name="T27" fmla="*/ 138 h 684"/>
                <a:gd name="T28" fmla="*/ 629 w 675"/>
                <a:gd name="T29" fmla="*/ 197 h 684"/>
                <a:gd name="T30" fmla="*/ 674 w 675"/>
                <a:gd name="T31" fmla="*/ 268 h 684"/>
                <a:gd name="T32" fmla="*/ 649 w 675"/>
                <a:gd name="T33" fmla="*/ 354 h 684"/>
                <a:gd name="T34" fmla="*/ 601 w 675"/>
                <a:gd name="T35" fmla="*/ 386 h 684"/>
                <a:gd name="T36" fmla="*/ 595 w 675"/>
                <a:gd name="T37" fmla="*/ 386 h 684"/>
                <a:gd name="T38" fmla="*/ 589 w 675"/>
                <a:gd name="T39" fmla="*/ 38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75" h="684">
                  <a:moveTo>
                    <a:pt x="589" y="385"/>
                  </a:moveTo>
                  <a:cubicBezTo>
                    <a:pt x="502" y="684"/>
                    <a:pt x="173" y="684"/>
                    <a:pt x="86" y="385"/>
                  </a:cubicBezTo>
                  <a:cubicBezTo>
                    <a:pt x="80" y="386"/>
                    <a:pt x="80" y="386"/>
                    <a:pt x="80" y="386"/>
                  </a:cubicBezTo>
                  <a:cubicBezTo>
                    <a:pt x="78" y="386"/>
                    <a:pt x="76" y="386"/>
                    <a:pt x="74" y="386"/>
                  </a:cubicBezTo>
                  <a:cubicBezTo>
                    <a:pt x="55" y="386"/>
                    <a:pt x="38" y="373"/>
                    <a:pt x="26" y="354"/>
                  </a:cubicBezTo>
                  <a:cubicBezTo>
                    <a:pt x="10" y="331"/>
                    <a:pt x="1" y="298"/>
                    <a:pt x="1" y="268"/>
                  </a:cubicBezTo>
                  <a:cubicBezTo>
                    <a:pt x="0" y="231"/>
                    <a:pt x="14" y="199"/>
                    <a:pt x="46" y="197"/>
                  </a:cubicBezTo>
                  <a:cubicBezTo>
                    <a:pt x="69" y="196"/>
                    <a:pt x="62" y="169"/>
                    <a:pt x="62" y="138"/>
                  </a:cubicBezTo>
                  <a:cubicBezTo>
                    <a:pt x="62" y="76"/>
                    <a:pt x="74" y="45"/>
                    <a:pt x="91" y="32"/>
                  </a:cubicBezTo>
                  <a:cubicBezTo>
                    <a:pt x="120" y="0"/>
                    <a:pt x="169" y="31"/>
                    <a:pt x="201" y="56"/>
                  </a:cubicBezTo>
                  <a:cubicBezTo>
                    <a:pt x="248" y="92"/>
                    <a:pt x="260" y="113"/>
                    <a:pt x="338" y="115"/>
                  </a:cubicBezTo>
                  <a:cubicBezTo>
                    <a:pt x="415" y="113"/>
                    <a:pt x="427" y="92"/>
                    <a:pt x="474" y="56"/>
                  </a:cubicBezTo>
                  <a:cubicBezTo>
                    <a:pt x="506" y="31"/>
                    <a:pt x="555" y="0"/>
                    <a:pt x="584" y="32"/>
                  </a:cubicBezTo>
                  <a:cubicBezTo>
                    <a:pt x="601" y="45"/>
                    <a:pt x="613" y="76"/>
                    <a:pt x="613" y="138"/>
                  </a:cubicBezTo>
                  <a:cubicBezTo>
                    <a:pt x="613" y="169"/>
                    <a:pt x="606" y="196"/>
                    <a:pt x="629" y="197"/>
                  </a:cubicBezTo>
                  <a:cubicBezTo>
                    <a:pt x="661" y="199"/>
                    <a:pt x="675" y="231"/>
                    <a:pt x="674" y="268"/>
                  </a:cubicBezTo>
                  <a:cubicBezTo>
                    <a:pt x="674" y="298"/>
                    <a:pt x="665" y="331"/>
                    <a:pt x="649" y="354"/>
                  </a:cubicBezTo>
                  <a:cubicBezTo>
                    <a:pt x="637" y="373"/>
                    <a:pt x="620" y="386"/>
                    <a:pt x="601" y="386"/>
                  </a:cubicBezTo>
                  <a:cubicBezTo>
                    <a:pt x="599" y="386"/>
                    <a:pt x="597" y="386"/>
                    <a:pt x="595" y="386"/>
                  </a:cubicBezTo>
                  <a:cubicBezTo>
                    <a:pt x="589" y="385"/>
                    <a:pt x="589" y="385"/>
                    <a:pt x="589" y="38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666" tIns="43833" rIns="87666" bIns="43833" numCol="1" anchor="t" anchorCtr="0" compatLnSpc="1">
              <a:prstTxWarp prst="textNoShape">
                <a:avLst/>
              </a:prstTxWarp>
            </a:bodyPr>
            <a:lstStyle/>
            <a:p>
              <a:endParaRPr lang="en-IN" sz="1055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517194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7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mparis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73</cp:revision>
  <dcterms:created xsi:type="dcterms:W3CDTF">2021-03-31T02:49:57Z</dcterms:created>
  <dcterms:modified xsi:type="dcterms:W3CDTF">2025-10-16T11:42:21Z</dcterms:modified>
  <cp:category/>
</cp:coreProperties>
</file>